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sldIdLst>
    <p:sldId id="2598" r:id="rId2"/>
    <p:sldId id="2607" r:id="rId3"/>
    <p:sldId id="2625" r:id="rId4"/>
    <p:sldId id="2634" r:id="rId5"/>
    <p:sldId id="2633" r:id="rId6"/>
    <p:sldId id="431" r:id="rId7"/>
    <p:sldId id="2624" r:id="rId8"/>
    <p:sldId id="456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07"/>
            <p14:sldId id="2625"/>
            <p14:sldId id="2634"/>
            <p14:sldId id="2633"/>
            <p14:sldId id="431"/>
            <p14:sldId id="2624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45" autoAdjust="0"/>
    <p:restoredTop sz="94243" autoAdjust="0"/>
  </p:normalViewPr>
  <p:slideViewPr>
    <p:cSldViewPr snapToGrid="0">
      <p:cViewPr varScale="1">
        <p:scale>
          <a:sx n="148" d="100"/>
          <a:sy n="148" d="100"/>
        </p:scale>
        <p:origin x="216" y="240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6.12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0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endParaRPr lang="de-DE" dirty="0"/>
          </a:p>
          <a:p>
            <a:r>
              <a:rPr lang="de-DE" dirty="0"/>
              <a:t>11.12.2020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sverzeichni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5260522" cy="454456"/>
          </a:xfrm>
        </p:spPr>
        <p:txBody>
          <a:bodyPr/>
          <a:lstStyle/>
          <a:p>
            <a:r>
              <a:rPr lang="en-GB" dirty="0" err="1"/>
              <a:t>Zielbild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5260522" cy="454456"/>
          </a:xfrm>
        </p:spPr>
        <p:txBody>
          <a:bodyPr/>
          <a:lstStyle/>
          <a:p>
            <a:r>
              <a:rPr lang="en-GB" dirty="0" err="1"/>
              <a:t>Daten</a:t>
            </a:r>
            <a:r>
              <a:rPr lang="en-GB" dirty="0"/>
              <a:t> und </a:t>
            </a:r>
            <a:r>
              <a:rPr lang="en-GB" dirty="0" err="1"/>
              <a:t>Modelle</a:t>
            </a:r>
            <a:r>
              <a:rPr lang="en-GB" dirty="0"/>
              <a:t>, UI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5260522" cy="454456"/>
          </a:xfrm>
        </p:spPr>
        <p:txBody>
          <a:bodyPr/>
          <a:lstStyle/>
          <a:p>
            <a:r>
              <a:rPr lang="de-DE" dirty="0"/>
              <a:t>Erwartete Ergebnisse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CEE9002-329A-8747-A31E-AD91C2D23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078" y="1403999"/>
            <a:ext cx="3774967" cy="251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8A6C7FAA-ECB7-E748-A697-1F3438C36630}"/>
              </a:ext>
            </a:extLst>
          </p:cNvPr>
          <p:cNvSpPr txBox="1">
            <a:spLocks/>
          </p:cNvSpPr>
          <p:nvPr/>
        </p:nvSpPr>
        <p:spPr>
          <a:xfrm>
            <a:off x="1408643" y="2871012"/>
            <a:ext cx="5260522" cy="45445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AD007C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AD007C"/>
              </a:buClr>
              <a:buFont typeface="Wingdings" panose="05000000000000000000" pitchFamily="2" charset="2"/>
              <a:buNone/>
              <a:defRPr sz="1800" kern="1200" cap="none" baseline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Arbeitspla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Zielbild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16112"/>
            <a:ext cx="10467157" cy="2949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Vorhersage von Währungsdaten</a:t>
            </a:r>
            <a:endParaRPr lang="ru-RU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Ergebnisse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Diagramm</a:t>
            </a:r>
            <a:r>
              <a:rPr lang="en-GB" dirty="0"/>
              <a:t> auf </a:t>
            </a:r>
            <a:r>
              <a:rPr lang="en-GB" dirty="0" err="1"/>
              <a:t>Webseite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chtzeit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Mögliche</a:t>
            </a:r>
            <a:r>
              <a:rPr lang="en-GB" dirty="0"/>
              <a:t> </a:t>
            </a:r>
            <a:r>
              <a:rPr lang="en-GB" dirty="0" err="1"/>
              <a:t>Probleme</a:t>
            </a:r>
            <a:r>
              <a:rPr lang="en-GB" dirty="0"/>
              <a:t>: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Fehlende</a:t>
            </a:r>
            <a:r>
              <a:rPr lang="en-GB" dirty="0"/>
              <a:t> </a:t>
            </a:r>
            <a:r>
              <a:rPr lang="en-GB" dirty="0" err="1"/>
              <a:t>Daten</a:t>
            </a:r>
            <a:endParaRPr lang="en-GB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Trendänderungen</a:t>
            </a:r>
            <a:endParaRPr lang="en-GB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Noise</a:t>
            </a:r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Daten</a:t>
            </a:r>
            <a:r>
              <a:rPr lang="en-GB" sz="2800" dirty="0"/>
              <a:t> und </a:t>
            </a:r>
            <a:r>
              <a:rPr lang="en-GB" sz="2800" dirty="0" err="1"/>
              <a:t>Modelle</a:t>
            </a:r>
            <a:endParaRPr lang="ru-DE" sz="2800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Daten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8A7B01-FEF5-654C-80F9-82C10511F7AC}"/>
              </a:ext>
            </a:extLst>
          </p:cNvPr>
          <p:cNvSpPr txBox="1"/>
          <p:nvPr/>
        </p:nvSpPr>
        <p:spPr>
          <a:xfrm>
            <a:off x="719400" y="1879979"/>
            <a:ext cx="5376600" cy="87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Yahoo Finan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DE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322B070-D53B-EB49-B13B-570A94C2C1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769" y="1685590"/>
            <a:ext cx="4641934" cy="18413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145E955-667A-1C40-9C68-B3AFEFDB14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784" y="3920396"/>
            <a:ext cx="4533916" cy="239033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323D63-CA96-A547-804D-CB04686B46DE}"/>
              </a:ext>
            </a:extLst>
          </p:cNvPr>
          <p:cNvSpPr txBox="1"/>
          <p:nvPr/>
        </p:nvSpPr>
        <p:spPr>
          <a:xfrm>
            <a:off x="783023" y="3920396"/>
            <a:ext cx="5376600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Cryptocurrency</a:t>
            </a:r>
            <a:endParaRPr lang="ru-DE" dirty="0"/>
          </a:p>
        </p:txBody>
      </p:sp>
    </p:spTree>
    <p:extLst>
      <p:ext uri="{BB962C8B-B14F-4D97-AF65-F5344CB8AC3E}">
        <p14:creationId xmlns:p14="http://schemas.microsoft.com/office/powerpoint/2010/main" val="3628235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Daten</a:t>
            </a:r>
            <a:r>
              <a:rPr lang="en-GB" sz="2800" dirty="0"/>
              <a:t>, </a:t>
            </a:r>
            <a:r>
              <a:rPr lang="en-GB" sz="2800" dirty="0" err="1"/>
              <a:t>Modelle</a:t>
            </a:r>
            <a:r>
              <a:rPr lang="en-GB" sz="2800" dirty="0"/>
              <a:t> und UI-</a:t>
            </a:r>
            <a:r>
              <a:rPr lang="en-GB" sz="2800" dirty="0" err="1"/>
              <a:t>Bibliotheke</a:t>
            </a:r>
            <a:endParaRPr lang="ru-DE" sz="2800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Modelle und UI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8A7B01-FEF5-654C-80F9-82C10511F7AC}"/>
              </a:ext>
            </a:extLst>
          </p:cNvPr>
          <p:cNvSpPr txBox="1"/>
          <p:nvPr/>
        </p:nvSpPr>
        <p:spPr>
          <a:xfrm>
            <a:off x="719400" y="2396971"/>
            <a:ext cx="5376600" cy="2118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ARIMA</a:t>
            </a:r>
            <a:r>
              <a:rPr lang="ru-RU" dirty="0"/>
              <a:t> 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Prophet</a:t>
            </a:r>
            <a:r>
              <a:rPr lang="de-DE" dirty="0"/>
              <a:t> 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LSTM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Bokeh - UI</a:t>
            </a:r>
            <a:endParaRPr lang="ru-DE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B63FB13-C49F-C241-870A-9CF36A3910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366" y="2064889"/>
            <a:ext cx="1687283" cy="160511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1852382-ECB1-0B41-9DC9-07A535670A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086" y="3848311"/>
            <a:ext cx="2973280" cy="1932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0EB642C-C810-014F-89AA-56D3BEBF69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792" b="1"/>
          <a:stretch/>
        </p:blipFill>
        <p:spPr>
          <a:xfrm>
            <a:off x="719400" y="5071253"/>
            <a:ext cx="1803400" cy="604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97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rbeitsplan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7.12 – 08.12 	- </a:t>
            </a:r>
            <a:r>
              <a:rPr lang="en-GB" dirty="0" err="1"/>
              <a:t>Projektziele</a:t>
            </a:r>
            <a:r>
              <a:rPr lang="en-GB" dirty="0"/>
              <a:t> und </a:t>
            </a:r>
            <a:r>
              <a:rPr lang="en-GB" dirty="0" err="1"/>
              <a:t>gewünschte</a:t>
            </a:r>
            <a:r>
              <a:rPr lang="en-GB" dirty="0"/>
              <a:t> </a:t>
            </a:r>
            <a:r>
              <a:rPr lang="en-GB" dirty="0" err="1"/>
              <a:t>Ergebnisse</a:t>
            </a:r>
            <a:r>
              <a:rPr lang="en-GB" dirty="0"/>
              <a:t> </a:t>
            </a:r>
            <a:r>
              <a:rPr lang="en-GB" dirty="0" err="1"/>
              <a:t>definieren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9.12 – 1</a:t>
            </a:r>
            <a:r>
              <a:rPr lang="ru-RU" dirty="0"/>
              <a:t>4</a:t>
            </a:r>
            <a:r>
              <a:rPr lang="en-GB" dirty="0"/>
              <a:t>.12 	- Recherche (</a:t>
            </a:r>
            <a:r>
              <a:rPr lang="en-GB" dirty="0" err="1"/>
              <a:t>Datensätze</a:t>
            </a:r>
            <a:r>
              <a:rPr lang="en-GB" dirty="0"/>
              <a:t>, </a:t>
            </a:r>
            <a:r>
              <a:rPr lang="en-GB" dirty="0" err="1"/>
              <a:t>Modelle</a:t>
            </a:r>
            <a:r>
              <a:rPr lang="en-GB" dirty="0"/>
              <a:t>, UI)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</a:t>
            </a:r>
            <a:r>
              <a:rPr lang="ru-RU" dirty="0"/>
              <a:t>4</a:t>
            </a:r>
            <a:r>
              <a:rPr lang="en-GB" dirty="0"/>
              <a:t>.12 – </a:t>
            </a:r>
            <a:r>
              <a:rPr lang="ru-RU" dirty="0"/>
              <a:t>20</a:t>
            </a:r>
            <a:r>
              <a:rPr lang="en-GB" dirty="0"/>
              <a:t>.12 	- Feature engineering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ru-RU" dirty="0"/>
              <a:t>20</a:t>
            </a:r>
            <a:r>
              <a:rPr lang="en-GB" dirty="0"/>
              <a:t>.12 – 2</a:t>
            </a:r>
            <a:r>
              <a:rPr lang="ru-RU" dirty="0"/>
              <a:t>5</a:t>
            </a:r>
            <a:r>
              <a:rPr lang="en-GB" dirty="0"/>
              <a:t>.01 	- ARIMA-Modell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2</a:t>
            </a:r>
            <a:r>
              <a:rPr lang="ru-RU" dirty="0"/>
              <a:t>5</a:t>
            </a:r>
            <a:r>
              <a:rPr lang="en-GB" dirty="0"/>
              <a:t>.01 – 01.01 	- Prophet-Modell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1.01 – 08.01	- LSTM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0.01 – 20.01 	- UI-</a:t>
            </a:r>
            <a:r>
              <a:rPr lang="en-GB" dirty="0" err="1"/>
              <a:t>Entwicklung</a:t>
            </a:r>
            <a:r>
              <a:rPr lang="ru-RU" dirty="0"/>
              <a:t> + </a:t>
            </a:r>
            <a:r>
              <a:rPr lang="en-GB" dirty="0"/>
              <a:t>Serv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20.01 – 01.02 	- </a:t>
            </a:r>
            <a:r>
              <a:rPr lang="en-GB" dirty="0" err="1"/>
              <a:t>Dokumentation</a:t>
            </a:r>
            <a:r>
              <a:rPr lang="en-GB" dirty="0"/>
              <a:t> und </a:t>
            </a:r>
            <a:r>
              <a:rPr lang="en-GB" dirty="0" err="1"/>
              <a:t>Codevalidierung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3.02 	- </a:t>
            </a:r>
            <a:r>
              <a:rPr lang="en-GB" dirty="0" err="1"/>
              <a:t>Abgabe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0.02 	- </a:t>
            </a:r>
            <a:r>
              <a:rPr lang="en-GB" dirty="0" err="1"/>
              <a:t>Präsentation</a:t>
            </a:r>
            <a:r>
              <a:rPr lang="en-GB" dirty="0"/>
              <a:t>	</a:t>
            </a:r>
          </a:p>
          <a:p>
            <a:pPr marL="285750" indent="-285750">
              <a:buFont typeface="Wingdings" pitchFamily="2" charset="2"/>
              <a:buChar char="q"/>
            </a:pPr>
            <a:endParaRPr lang="en-GB" dirty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54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wartete Ergebnis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5B32328-2D85-9344-99C0-B6CA456F47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116"/>
          <a:stretch/>
        </p:blipFill>
        <p:spPr>
          <a:xfrm>
            <a:off x="719399" y="1288777"/>
            <a:ext cx="9025491" cy="475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819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846</TotalTime>
  <Words>214</Words>
  <Application>Microsoft Macintosh PowerPoint</Application>
  <PresentationFormat>Широкоэкранный</PresentationFormat>
  <Paragraphs>70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Inhaltsverzeichnis</vt:lpstr>
      <vt:lpstr>Zielbild</vt:lpstr>
      <vt:lpstr>Daten und Modelle</vt:lpstr>
      <vt:lpstr>Daten, Modelle und UI-Bibliotheke</vt:lpstr>
      <vt:lpstr>Arbeitsplan</vt:lpstr>
      <vt:lpstr>Erwartete Ergebnisse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Matt Ryan</cp:lastModifiedBy>
  <cp:revision>53</cp:revision>
  <dcterms:created xsi:type="dcterms:W3CDTF">2020-07-24T00:30:15Z</dcterms:created>
  <dcterms:modified xsi:type="dcterms:W3CDTF">2020-12-16T10:22:58Z</dcterms:modified>
</cp:coreProperties>
</file>